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1"/>
  </p:notesMasterIdLst>
  <p:sldIdLst>
    <p:sldId id="256" r:id="rId5"/>
    <p:sldId id="278" r:id="rId6"/>
    <p:sldId id="261" r:id="rId7"/>
    <p:sldId id="264" r:id="rId8"/>
    <p:sldId id="279" r:id="rId9"/>
    <p:sldId id="280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1" autoAdjust="0"/>
    <p:restoredTop sz="81389" autoAdjust="0"/>
  </p:normalViewPr>
  <p:slideViewPr>
    <p:cSldViewPr snapToGrid="0">
      <p:cViewPr varScale="1">
        <p:scale>
          <a:sx n="67" d="100"/>
          <a:sy n="67" d="100"/>
        </p:scale>
        <p:origin x="1205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52ADB1-275D-430A-89EE-5C7E6CFF6FF2}" type="datetimeFigureOut">
              <a:rPr lang="en-US" smtClean="0"/>
              <a:t>7/1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25628-3A68-42F4-BA86-9818179531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258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25628-3A68-42F4-BA86-9818179531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358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25628-3A68-42F4-BA86-9818179531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22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8755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7445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005E26E-BCB2-4FD5-8FD5-81A5EAE94C21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2E9B8-0487-42E4-B571-744A3D775783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2E32D-1E84-43FD-8158-FFFE757EB0E8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1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4" name="Google Shape;1564;p5"/>
          <p:cNvSpPr txBox="1">
            <a:spLocks noGrp="1"/>
          </p:cNvSpPr>
          <p:nvPr>
            <p:ph type="title"/>
          </p:nvPr>
        </p:nvSpPr>
        <p:spPr>
          <a:xfrm>
            <a:off x="957733" y="985833"/>
            <a:ext cx="9014800" cy="11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5"/>
          <p:cNvSpPr txBox="1">
            <a:spLocks noGrp="1"/>
          </p:cNvSpPr>
          <p:nvPr>
            <p:ph type="body" idx="1"/>
          </p:nvPr>
        </p:nvSpPr>
        <p:spPr>
          <a:xfrm>
            <a:off x="957733" y="2311400"/>
            <a:ext cx="9014800" cy="39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507987">
              <a:spcBef>
                <a:spcPts val="800"/>
              </a:spcBef>
              <a:spcAft>
                <a:spcPts val="0"/>
              </a:spcAft>
              <a:buSzPts val="2400"/>
              <a:buChar char="▪"/>
              <a:defRPr/>
            </a:lvl1pPr>
            <a:lvl2pPr marL="1219170" lvl="1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2pPr>
            <a:lvl3pPr marL="1828754" lvl="2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3pPr>
            <a:lvl4pPr marL="2438339" lvl="3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4pPr>
            <a:lvl5pPr marL="3047924" lvl="4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5pPr>
            <a:lvl6pPr marL="3657509" lvl="5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6pPr>
            <a:lvl7pPr marL="4267093" lvl="6" indent="-507987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4876678" lvl="7" indent="-507987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5486263" lvl="8" indent="-507987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1566" name="Google Shape;1566;p5"/>
          <p:cNvGrpSpPr/>
          <p:nvPr/>
        </p:nvGrpSpPr>
        <p:grpSpPr>
          <a:xfrm rot="10800000">
            <a:off x="11801983" y="38276"/>
            <a:ext cx="352016" cy="6781736"/>
            <a:chOff x="5307800" y="238125"/>
            <a:chExt cx="271925" cy="5238750"/>
          </a:xfrm>
        </p:grpSpPr>
        <p:sp>
          <p:nvSpPr>
            <p:cNvPr id="1567" name="Google Shape;1567;p5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8" name="Google Shape;1568;p5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9" name="Google Shape;1569;p5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0" name="Google Shape;1570;p5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1" name="Google Shape;1571;p5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2" name="Google Shape;1572;p5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3" name="Google Shape;1573;p5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4" name="Google Shape;1574;p5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5" name="Google Shape;1575;p5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6" name="Google Shape;1576;p5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7" name="Google Shape;1577;p5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8" name="Google Shape;1578;p5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9" name="Google Shape;1579;p5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0" name="Google Shape;1580;p5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1" name="Google Shape;1581;p5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2" name="Google Shape;1582;p5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3" name="Google Shape;1583;p5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4" name="Google Shape;1584;p5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5" name="Google Shape;1585;p5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6" name="Google Shape;1586;p5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7" name="Google Shape;1587;p5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8" name="Google Shape;1588;p5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9" name="Google Shape;1589;p5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0" name="Google Shape;1590;p5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1" name="Google Shape;1591;p5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2" name="Google Shape;1592;p5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3" name="Google Shape;1593;p5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4" name="Google Shape;1594;p5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5" name="Google Shape;1595;p5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6" name="Google Shape;1596;p5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7" name="Google Shape;1597;p5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8" name="Google Shape;1598;p5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9" name="Google Shape;1599;p5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0" name="Google Shape;1600;p5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1" name="Google Shape;1601;p5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2" name="Google Shape;1602;p5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3" name="Google Shape;1603;p5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4" name="Google Shape;1604;p5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5" name="Google Shape;1605;p5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6" name="Google Shape;1606;p5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7" name="Google Shape;1607;p5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8" name="Google Shape;1608;p5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9" name="Google Shape;1609;p5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0" name="Google Shape;1610;p5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1" name="Google Shape;1611;p5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2" name="Google Shape;1612;p5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3" name="Google Shape;1613;p5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4" name="Google Shape;1614;p5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5" name="Google Shape;1615;p5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6" name="Google Shape;1616;p5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7" name="Google Shape;1617;p5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8" name="Google Shape;1618;p5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9" name="Google Shape;1619;p5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0" name="Google Shape;1620;p5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1" name="Google Shape;1621;p5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2" name="Google Shape;1622;p5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3" name="Google Shape;1623;p5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624" name="Google Shape;1624;p5"/>
          <p:cNvGrpSpPr/>
          <p:nvPr/>
        </p:nvGrpSpPr>
        <p:grpSpPr>
          <a:xfrm rot="10800000">
            <a:off x="10438095" y="38276"/>
            <a:ext cx="1521044" cy="6781736"/>
            <a:chOff x="5458325" y="238125"/>
            <a:chExt cx="1174975" cy="5238750"/>
          </a:xfrm>
        </p:grpSpPr>
        <p:sp>
          <p:nvSpPr>
            <p:cNvPr id="1625" name="Google Shape;1625;p5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6" name="Google Shape;1626;p5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7" name="Google Shape;1627;p5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8" name="Google Shape;1628;p5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9" name="Google Shape;1629;p5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0" name="Google Shape;1630;p5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1" name="Google Shape;1631;p5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2" name="Google Shape;1632;p5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3" name="Google Shape;1633;p5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4" name="Google Shape;1634;p5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5" name="Google Shape;1635;p5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6" name="Google Shape;1636;p5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7" name="Google Shape;1637;p5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8" name="Google Shape;1638;p5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9" name="Google Shape;1639;p5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0" name="Google Shape;1640;p5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1" name="Google Shape;1641;p5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2" name="Google Shape;1642;p5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3" name="Google Shape;1643;p5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4" name="Google Shape;1644;p5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5" name="Google Shape;1645;p5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6" name="Google Shape;1646;p5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7" name="Google Shape;1647;p5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8" name="Google Shape;1648;p5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9" name="Google Shape;1649;p5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0" name="Google Shape;1650;p5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1" name="Google Shape;1651;p5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2" name="Google Shape;1652;p5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3" name="Google Shape;1653;p5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4" name="Google Shape;1654;p5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5" name="Google Shape;1655;p5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6" name="Google Shape;1656;p5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7" name="Google Shape;1657;p5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8" name="Google Shape;1658;p5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9" name="Google Shape;1659;p5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0" name="Google Shape;1660;p5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1" name="Google Shape;1661;p5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2" name="Google Shape;1662;p5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3" name="Google Shape;1663;p5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4" name="Google Shape;1664;p5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5" name="Google Shape;1665;p5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6" name="Google Shape;1666;p5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7" name="Google Shape;1667;p5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8" name="Google Shape;1668;p5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9" name="Google Shape;1669;p5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0" name="Google Shape;1670;p5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1" name="Google Shape;1671;p5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2" name="Google Shape;1672;p5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3" name="Google Shape;1673;p5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4" name="Google Shape;1674;p5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5" name="Google Shape;1675;p5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6" name="Google Shape;1676;p5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7" name="Google Shape;1677;p5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8" name="Google Shape;1678;p5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9" name="Google Shape;1679;p5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0" name="Google Shape;1680;p5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1" name="Google Shape;1681;p5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2" name="Google Shape;1682;p5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3" name="Google Shape;1683;p5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4" name="Google Shape;1684;p5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5" name="Google Shape;1685;p5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6" name="Google Shape;1686;p5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687" name="Google Shape;1687;p5"/>
          <p:cNvGrpSpPr/>
          <p:nvPr/>
        </p:nvGrpSpPr>
        <p:grpSpPr>
          <a:xfrm rot="10800000">
            <a:off x="10243269" y="38276"/>
            <a:ext cx="1326185" cy="6586909"/>
            <a:chOff x="5759350" y="388625"/>
            <a:chExt cx="1024450" cy="5088250"/>
          </a:xfrm>
        </p:grpSpPr>
        <p:sp>
          <p:nvSpPr>
            <p:cNvPr id="1688" name="Google Shape;1688;p5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9" name="Google Shape;1689;p5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0" name="Google Shape;1690;p5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1" name="Google Shape;1691;p5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2" name="Google Shape;1692;p5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3" name="Google Shape;1693;p5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4" name="Google Shape;1694;p5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5" name="Google Shape;1695;p5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6" name="Google Shape;1696;p5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7" name="Google Shape;1697;p5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8" name="Google Shape;1698;p5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9" name="Google Shape;1699;p5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0" name="Google Shape;1700;p5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1" name="Google Shape;1701;p5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2" name="Google Shape;1702;p5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3" name="Google Shape;1703;p5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4" name="Google Shape;1704;p5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5" name="Google Shape;1705;p5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6" name="Google Shape;1706;p5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7" name="Google Shape;1707;p5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8" name="Google Shape;1708;p5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9" name="Google Shape;1709;p5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0" name="Google Shape;1710;p5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1" name="Google Shape;1711;p5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2" name="Google Shape;1712;p5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3" name="Google Shape;1713;p5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4" name="Google Shape;1714;p5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5" name="Google Shape;1715;p5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6" name="Google Shape;1716;p5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7" name="Google Shape;1717;p5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8" name="Google Shape;1718;p5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9" name="Google Shape;1719;p5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0" name="Google Shape;1720;p5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1" name="Google Shape;1721;p5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2" name="Google Shape;1722;p5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3" name="Google Shape;1723;p5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4" name="Google Shape;1724;p5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5" name="Google Shape;1725;p5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6" name="Google Shape;1726;p5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7" name="Google Shape;1727;p5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8" name="Google Shape;1728;p5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9" name="Google Shape;1729;p5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0" name="Google Shape;1730;p5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1" name="Google Shape;1731;p5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2" name="Google Shape;1732;p5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3" name="Google Shape;1733;p5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4" name="Google Shape;1734;p5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5" name="Google Shape;1735;p5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6" name="Google Shape;1736;p5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7" name="Google Shape;1737;p5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8" name="Google Shape;1738;p5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9" name="Google Shape;1739;p5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0" name="Google Shape;1740;p5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1" name="Google Shape;1741;p5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2" name="Google Shape;1742;p5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3" name="Google Shape;1743;p5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4" name="Google Shape;1744;p5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5" name="Google Shape;1745;p5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6" name="Google Shape;1746;p5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7" name="Google Shape;1747;p5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8" name="Google Shape;1748;p5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9" name="Google Shape;1749;p5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0" name="Google Shape;1750;p5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1" name="Google Shape;1751;p5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2" name="Google Shape;1752;p5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3" name="Google Shape;1753;p5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4" name="Google Shape;1754;p5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5" name="Google Shape;1755;p5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6" name="Google Shape;1756;p5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7" name="Google Shape;1757;p5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8" name="Google Shape;1758;p5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9" name="Google Shape;1759;p5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0" name="Google Shape;1760;p5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1" name="Google Shape;1761;p5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2" name="Google Shape;1762;p5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3" name="Google Shape;1763;p5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4" name="Google Shape;1764;p5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5" name="Google Shape;1765;p5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6" name="Google Shape;1766;p5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7" name="Google Shape;1767;p5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8" name="Google Shape;1768;p5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9" name="Google Shape;1769;p5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0" name="Google Shape;1770;p5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1" name="Google Shape;1771;p5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2" name="Google Shape;1772;p5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3" name="Google Shape;1773;p5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4" name="Google Shape;1774;p5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5" name="Google Shape;1775;p5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6" name="Google Shape;1776;p5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7" name="Google Shape;1777;p5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8" name="Google Shape;1778;p5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9" name="Google Shape;1779;p5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0" name="Google Shape;1780;p5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1" name="Google Shape;1781;p5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2" name="Google Shape;1782;p5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3" name="Google Shape;1783;p5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4" name="Google Shape;1784;p5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5" name="Google Shape;1785;p5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6" name="Google Shape;1786;p5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7" name="Google Shape;1787;p5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8" name="Google Shape;1788;p5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789" name="Google Shape;1789;p5"/>
          <p:cNvGrpSpPr/>
          <p:nvPr/>
        </p:nvGrpSpPr>
        <p:grpSpPr>
          <a:xfrm rot="10800000">
            <a:off x="10243269" y="38276"/>
            <a:ext cx="1521044" cy="6781736"/>
            <a:chOff x="5608825" y="238125"/>
            <a:chExt cx="1174975" cy="5238750"/>
          </a:xfrm>
        </p:grpSpPr>
        <p:sp>
          <p:nvSpPr>
            <p:cNvPr id="1790" name="Google Shape;1790;p5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1" name="Google Shape;1791;p5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2" name="Google Shape;1792;p5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3" name="Google Shape;1793;p5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4" name="Google Shape;1794;p5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5" name="Google Shape;1795;p5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6" name="Google Shape;1796;p5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7" name="Google Shape;1797;p5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8" name="Google Shape;1798;p5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9" name="Google Shape;1799;p5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0" name="Google Shape;1800;p5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1" name="Google Shape;1801;p5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2" name="Google Shape;1802;p5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3" name="Google Shape;1803;p5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4" name="Google Shape;1804;p5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5" name="Google Shape;1805;p5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6" name="Google Shape;1806;p5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7" name="Google Shape;1807;p5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8" name="Google Shape;1808;p5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9" name="Google Shape;1809;p5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0" name="Google Shape;1810;p5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1" name="Google Shape;1811;p5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2" name="Google Shape;1812;p5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3" name="Google Shape;1813;p5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4" name="Google Shape;1814;p5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5" name="Google Shape;1815;p5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6" name="Google Shape;1816;p5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7" name="Google Shape;1817;p5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8" name="Google Shape;1818;p5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9" name="Google Shape;1819;p5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0" name="Google Shape;1820;p5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1" name="Google Shape;1821;p5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2" name="Google Shape;1822;p5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3" name="Google Shape;1823;p5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4" name="Google Shape;1824;p5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5" name="Google Shape;1825;p5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6" name="Google Shape;1826;p5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7" name="Google Shape;1827;p5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8" name="Google Shape;1828;p5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9" name="Google Shape;1829;p5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0" name="Google Shape;1830;p5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1" name="Google Shape;1831;p5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2" name="Google Shape;1832;p5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3" name="Google Shape;1833;p5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4" name="Google Shape;1834;p5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5" name="Google Shape;1835;p5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6" name="Google Shape;1836;p5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7" name="Google Shape;1837;p5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8" name="Google Shape;1838;p5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9" name="Google Shape;1839;p5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840" name="Google Shape;1840;p5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78447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1" name="Google Shape;2121;p7"/>
          <p:cNvSpPr txBox="1">
            <a:spLocks noGrp="1"/>
          </p:cNvSpPr>
          <p:nvPr>
            <p:ph type="title"/>
          </p:nvPr>
        </p:nvSpPr>
        <p:spPr>
          <a:xfrm>
            <a:off x="957733" y="985833"/>
            <a:ext cx="9014800" cy="11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122" name="Google Shape;2122;p7"/>
          <p:cNvSpPr txBox="1">
            <a:spLocks noGrp="1"/>
          </p:cNvSpPr>
          <p:nvPr>
            <p:ph type="body" idx="1"/>
          </p:nvPr>
        </p:nvSpPr>
        <p:spPr>
          <a:xfrm>
            <a:off x="957733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3" name="Google Shape;2123;p7"/>
          <p:cNvSpPr txBox="1">
            <a:spLocks noGrp="1"/>
          </p:cNvSpPr>
          <p:nvPr>
            <p:ph type="body" idx="2"/>
          </p:nvPr>
        </p:nvSpPr>
        <p:spPr>
          <a:xfrm>
            <a:off x="4012351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4" name="Google Shape;2124;p7"/>
          <p:cNvSpPr txBox="1">
            <a:spLocks noGrp="1"/>
          </p:cNvSpPr>
          <p:nvPr>
            <p:ph type="body" idx="3"/>
          </p:nvPr>
        </p:nvSpPr>
        <p:spPr>
          <a:xfrm>
            <a:off x="7066968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5" name="Google Shape;2125;p7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grpSp>
        <p:nvGrpSpPr>
          <p:cNvPr id="2126" name="Google Shape;2126;p7"/>
          <p:cNvGrpSpPr/>
          <p:nvPr/>
        </p:nvGrpSpPr>
        <p:grpSpPr>
          <a:xfrm rot="10800000">
            <a:off x="11801983" y="38276"/>
            <a:ext cx="352016" cy="6781736"/>
            <a:chOff x="5307800" y="238125"/>
            <a:chExt cx="271925" cy="5238750"/>
          </a:xfrm>
        </p:grpSpPr>
        <p:sp>
          <p:nvSpPr>
            <p:cNvPr id="2127" name="Google Shape;2127;p7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8" name="Google Shape;2128;p7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9" name="Google Shape;2129;p7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0" name="Google Shape;2130;p7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1" name="Google Shape;2131;p7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2" name="Google Shape;2132;p7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3" name="Google Shape;2133;p7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4" name="Google Shape;2134;p7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5" name="Google Shape;2135;p7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6" name="Google Shape;2136;p7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7" name="Google Shape;2137;p7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8" name="Google Shape;2138;p7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9" name="Google Shape;2139;p7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0" name="Google Shape;2140;p7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1" name="Google Shape;2141;p7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2" name="Google Shape;2142;p7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3" name="Google Shape;2143;p7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4" name="Google Shape;2144;p7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5" name="Google Shape;2145;p7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6" name="Google Shape;2146;p7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7" name="Google Shape;2147;p7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8" name="Google Shape;2148;p7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9" name="Google Shape;2149;p7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0" name="Google Shape;2150;p7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1" name="Google Shape;2151;p7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2" name="Google Shape;2152;p7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3" name="Google Shape;2153;p7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4" name="Google Shape;2154;p7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5" name="Google Shape;2155;p7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6" name="Google Shape;2156;p7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7" name="Google Shape;2157;p7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8" name="Google Shape;2158;p7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9" name="Google Shape;2159;p7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0" name="Google Shape;2160;p7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1" name="Google Shape;2161;p7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2" name="Google Shape;2162;p7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3" name="Google Shape;2163;p7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4" name="Google Shape;2164;p7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5" name="Google Shape;2165;p7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6" name="Google Shape;2166;p7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7" name="Google Shape;2167;p7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8" name="Google Shape;2168;p7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9" name="Google Shape;2169;p7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0" name="Google Shape;2170;p7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1" name="Google Shape;2171;p7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2" name="Google Shape;2172;p7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3" name="Google Shape;2173;p7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4" name="Google Shape;2174;p7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5" name="Google Shape;2175;p7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6" name="Google Shape;2176;p7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7" name="Google Shape;2177;p7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8" name="Google Shape;2178;p7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9" name="Google Shape;2179;p7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0" name="Google Shape;2180;p7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1" name="Google Shape;2181;p7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2" name="Google Shape;2182;p7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3" name="Google Shape;2183;p7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184" name="Google Shape;2184;p7"/>
          <p:cNvGrpSpPr/>
          <p:nvPr/>
        </p:nvGrpSpPr>
        <p:grpSpPr>
          <a:xfrm rot="10800000">
            <a:off x="10438095" y="38276"/>
            <a:ext cx="1521044" cy="6781736"/>
            <a:chOff x="5458325" y="238125"/>
            <a:chExt cx="1174975" cy="5238750"/>
          </a:xfrm>
        </p:grpSpPr>
        <p:sp>
          <p:nvSpPr>
            <p:cNvPr id="2185" name="Google Shape;2185;p7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6" name="Google Shape;2186;p7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7" name="Google Shape;2187;p7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8" name="Google Shape;2188;p7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9" name="Google Shape;2189;p7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0" name="Google Shape;2190;p7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1" name="Google Shape;2191;p7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2" name="Google Shape;2192;p7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3" name="Google Shape;2193;p7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4" name="Google Shape;2194;p7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5" name="Google Shape;2195;p7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6" name="Google Shape;2196;p7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7" name="Google Shape;2197;p7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8" name="Google Shape;2198;p7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9" name="Google Shape;2199;p7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0" name="Google Shape;2200;p7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1" name="Google Shape;2201;p7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2" name="Google Shape;2202;p7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3" name="Google Shape;2203;p7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4" name="Google Shape;2204;p7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5" name="Google Shape;2205;p7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6" name="Google Shape;2206;p7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7" name="Google Shape;2207;p7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8" name="Google Shape;2208;p7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9" name="Google Shape;2209;p7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0" name="Google Shape;2210;p7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1" name="Google Shape;2211;p7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2" name="Google Shape;2212;p7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3" name="Google Shape;2213;p7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4" name="Google Shape;2214;p7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5" name="Google Shape;2215;p7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6" name="Google Shape;2216;p7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7" name="Google Shape;2217;p7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8" name="Google Shape;2218;p7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9" name="Google Shape;2219;p7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0" name="Google Shape;2220;p7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1" name="Google Shape;2221;p7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2" name="Google Shape;2222;p7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3" name="Google Shape;2223;p7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4" name="Google Shape;2224;p7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5" name="Google Shape;2225;p7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6" name="Google Shape;2226;p7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7" name="Google Shape;2227;p7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8" name="Google Shape;2228;p7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9" name="Google Shape;2229;p7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0" name="Google Shape;2230;p7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1" name="Google Shape;2231;p7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2" name="Google Shape;2232;p7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3" name="Google Shape;2233;p7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4" name="Google Shape;2234;p7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5" name="Google Shape;2235;p7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6" name="Google Shape;2236;p7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7" name="Google Shape;2237;p7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8" name="Google Shape;2238;p7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9" name="Google Shape;2239;p7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0" name="Google Shape;2240;p7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1" name="Google Shape;2241;p7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2" name="Google Shape;2242;p7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3" name="Google Shape;2243;p7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4" name="Google Shape;2244;p7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5" name="Google Shape;2245;p7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6" name="Google Shape;2246;p7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247" name="Google Shape;2247;p7"/>
          <p:cNvGrpSpPr/>
          <p:nvPr/>
        </p:nvGrpSpPr>
        <p:grpSpPr>
          <a:xfrm rot="10800000">
            <a:off x="10243269" y="38276"/>
            <a:ext cx="1326185" cy="6586909"/>
            <a:chOff x="5759350" y="388625"/>
            <a:chExt cx="1024450" cy="5088250"/>
          </a:xfrm>
        </p:grpSpPr>
        <p:sp>
          <p:nvSpPr>
            <p:cNvPr id="2248" name="Google Shape;2248;p7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9" name="Google Shape;2249;p7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0" name="Google Shape;2250;p7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1" name="Google Shape;2251;p7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2" name="Google Shape;2252;p7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3" name="Google Shape;2253;p7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4" name="Google Shape;2254;p7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5" name="Google Shape;2255;p7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6" name="Google Shape;2256;p7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7" name="Google Shape;2257;p7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8" name="Google Shape;2258;p7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9" name="Google Shape;2259;p7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0" name="Google Shape;2260;p7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1" name="Google Shape;2261;p7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2" name="Google Shape;2262;p7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3" name="Google Shape;2263;p7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4" name="Google Shape;2264;p7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5" name="Google Shape;2265;p7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6" name="Google Shape;2266;p7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7" name="Google Shape;2267;p7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8" name="Google Shape;2268;p7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9" name="Google Shape;2269;p7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0" name="Google Shape;2270;p7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1" name="Google Shape;2271;p7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2" name="Google Shape;2272;p7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3" name="Google Shape;2273;p7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4" name="Google Shape;2274;p7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5" name="Google Shape;2275;p7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6" name="Google Shape;2276;p7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7" name="Google Shape;2277;p7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8" name="Google Shape;2278;p7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9" name="Google Shape;2279;p7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0" name="Google Shape;2280;p7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1" name="Google Shape;2281;p7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2" name="Google Shape;2282;p7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3" name="Google Shape;2283;p7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4" name="Google Shape;2284;p7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5" name="Google Shape;2285;p7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6" name="Google Shape;2286;p7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7" name="Google Shape;2287;p7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8" name="Google Shape;2288;p7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9" name="Google Shape;2289;p7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0" name="Google Shape;2290;p7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1" name="Google Shape;2291;p7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2" name="Google Shape;2292;p7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3" name="Google Shape;2293;p7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4" name="Google Shape;2294;p7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5" name="Google Shape;2295;p7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6" name="Google Shape;2296;p7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7" name="Google Shape;2297;p7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8" name="Google Shape;2298;p7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9" name="Google Shape;2299;p7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0" name="Google Shape;2300;p7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1" name="Google Shape;2301;p7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2" name="Google Shape;2302;p7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3" name="Google Shape;2303;p7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4" name="Google Shape;2304;p7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5" name="Google Shape;2305;p7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6" name="Google Shape;2306;p7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7" name="Google Shape;2307;p7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8" name="Google Shape;2308;p7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9" name="Google Shape;2309;p7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0" name="Google Shape;2310;p7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1" name="Google Shape;2311;p7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2" name="Google Shape;2312;p7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3" name="Google Shape;2313;p7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4" name="Google Shape;2314;p7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5" name="Google Shape;2315;p7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6" name="Google Shape;2316;p7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7" name="Google Shape;2317;p7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8" name="Google Shape;2318;p7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9" name="Google Shape;2319;p7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0" name="Google Shape;2320;p7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1" name="Google Shape;2321;p7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2" name="Google Shape;2322;p7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3" name="Google Shape;2323;p7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4" name="Google Shape;2324;p7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5" name="Google Shape;2325;p7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6" name="Google Shape;2326;p7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7" name="Google Shape;2327;p7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8" name="Google Shape;2328;p7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9" name="Google Shape;2329;p7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0" name="Google Shape;2330;p7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1" name="Google Shape;2331;p7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2" name="Google Shape;2332;p7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3" name="Google Shape;2333;p7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4" name="Google Shape;2334;p7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5" name="Google Shape;2335;p7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6" name="Google Shape;2336;p7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7" name="Google Shape;2337;p7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8" name="Google Shape;2338;p7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9" name="Google Shape;2339;p7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0" name="Google Shape;2340;p7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1" name="Google Shape;2341;p7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2" name="Google Shape;2342;p7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3" name="Google Shape;2343;p7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4" name="Google Shape;2344;p7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5" name="Google Shape;2345;p7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6" name="Google Shape;2346;p7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7" name="Google Shape;2347;p7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8" name="Google Shape;2348;p7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349" name="Google Shape;2349;p7"/>
          <p:cNvGrpSpPr/>
          <p:nvPr/>
        </p:nvGrpSpPr>
        <p:grpSpPr>
          <a:xfrm rot="10800000">
            <a:off x="10243269" y="38276"/>
            <a:ext cx="1521044" cy="6781736"/>
            <a:chOff x="5608825" y="238125"/>
            <a:chExt cx="1174975" cy="5238750"/>
          </a:xfrm>
        </p:grpSpPr>
        <p:sp>
          <p:nvSpPr>
            <p:cNvPr id="2350" name="Google Shape;2350;p7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1" name="Google Shape;2351;p7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2" name="Google Shape;2352;p7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3" name="Google Shape;2353;p7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4" name="Google Shape;2354;p7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5" name="Google Shape;2355;p7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6" name="Google Shape;2356;p7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7" name="Google Shape;2357;p7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8" name="Google Shape;2358;p7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9" name="Google Shape;2359;p7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0" name="Google Shape;2360;p7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1" name="Google Shape;2361;p7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2" name="Google Shape;2362;p7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3" name="Google Shape;2363;p7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4" name="Google Shape;2364;p7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5" name="Google Shape;2365;p7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6" name="Google Shape;2366;p7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7" name="Google Shape;2367;p7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8" name="Google Shape;2368;p7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9" name="Google Shape;2369;p7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0" name="Google Shape;2370;p7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1" name="Google Shape;2371;p7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2" name="Google Shape;2372;p7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3" name="Google Shape;2373;p7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4" name="Google Shape;2374;p7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5" name="Google Shape;2375;p7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6" name="Google Shape;2376;p7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7" name="Google Shape;2377;p7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8" name="Google Shape;2378;p7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9" name="Google Shape;2379;p7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0" name="Google Shape;2380;p7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1" name="Google Shape;2381;p7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2" name="Google Shape;2382;p7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3" name="Google Shape;2383;p7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4" name="Google Shape;2384;p7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5" name="Google Shape;2385;p7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6" name="Google Shape;2386;p7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7" name="Google Shape;2387;p7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8" name="Google Shape;2388;p7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9" name="Google Shape;2389;p7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0" name="Google Shape;2390;p7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1" name="Google Shape;2391;p7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2" name="Google Shape;2392;p7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3" name="Google Shape;2393;p7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4" name="Google Shape;2394;p7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5" name="Google Shape;2395;p7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6" name="Google Shape;2396;p7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7" name="Google Shape;2397;p7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8" name="Google Shape;2398;p7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9" name="Google Shape;2399;p7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598813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5C470-CD19-455C-B830-6D252EAD7FE5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5C43C-50D9-4F49-A136-0EFF292F93ED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3B1A3-0AEF-4064-A724-D27D660C8653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5D0F2-BF66-4A24-9384-A0129B196518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18A6C-4F6B-48D2-BDB0-D7413B3FDB0A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1ECED-6ECE-4989-B917-9D4D7E6D3C76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570E1-CB40-488E-8C6F-EF4211DFFCB0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EB6AF-9F5C-43BE-879E-CB9514111250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7E5644-1E61-4311-A31E-84CB9C7AA8A9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E7EE424C-FCA3-4EDD-B274-8E055D649B7D}" type="datetime1">
              <a:rPr lang="en-US" smtClean="0"/>
              <a:t>7/1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8" r:id="rId10"/>
    <p:sldLayoutId id="2147483659" r:id="rId11"/>
    <p:sldLayoutId id="2147483661" r:id="rId12"/>
    <p:sldLayoutId id="2147483662" r:id="rId13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jp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ognitir.com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hyperlink" Target="https://github.com/kristywedel/LegoData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hyperlink" Target="https://github.com/kristywedel/LegoData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FDF0794-1B86-42B2-B8C7-F60123E63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74" y="0"/>
            <a:ext cx="12188726" cy="685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BD1B1-AA22-48F1-B3ED-579CD28460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2444" b="-1"/>
          <a:stretch/>
        </p:blipFill>
        <p:spPr>
          <a:xfrm>
            <a:off x="20" y="975"/>
            <a:ext cx="1219198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AA48FC5-3C83-4F1B-BC33-DF0B588F83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6786" y="3064931"/>
            <a:ext cx="8295215" cy="2488568"/>
          </a:xfrm>
          <a:prstGeom prst="rect">
            <a:avLst/>
          </a:prstGeom>
          <a:solidFill>
            <a:srgbClr val="000001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D84FB-5D02-47D2-98FD-4F01A02E2A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09349" y="3429000"/>
            <a:ext cx="7501651" cy="1090938"/>
          </a:xfrm>
        </p:spPr>
        <p:txBody>
          <a:bodyPr anchor="b">
            <a:normAutofit/>
          </a:bodyPr>
          <a:lstStyle/>
          <a:p>
            <a:pPr algn="l"/>
            <a:r>
              <a:rPr lang="en-US" dirty="0">
                <a:solidFill>
                  <a:srgbClr val="FFFFFF"/>
                </a:solidFill>
              </a:rPr>
              <a:t>Power BI Workshop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2F01714-1A39-4194-BD47-8A9960C59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309349" y="4666480"/>
            <a:ext cx="6832499" cy="0"/>
          </a:xfrm>
          <a:prstGeom prst="line">
            <a:avLst/>
          </a:prstGeom>
          <a:ln w="22225">
            <a:solidFill>
              <a:srgbClr val="4AC4E3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257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8578F-C7D3-0FB9-9B68-36F46B4EC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36DF6D1-78DA-410E-BFB8-8BA4107491B7}"/>
              </a:ext>
            </a:extLst>
          </p:cNvPr>
          <p:cNvSpPr/>
          <p:nvPr/>
        </p:nvSpPr>
        <p:spPr>
          <a:xfrm>
            <a:off x="2075123" y="2382069"/>
            <a:ext cx="1455431" cy="1462853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5" name="TextBox 15">
            <a:extLst>
              <a:ext uri="{FF2B5EF4-FFF2-40B4-BE49-F238E27FC236}">
                <a16:creationId xmlns:a16="http://schemas.microsoft.com/office/drawing/2014/main" id="{3C02410F-E6C8-4856-A82D-DF740B4641B7}"/>
              </a:ext>
            </a:extLst>
          </p:cNvPr>
          <p:cNvSpPr txBox="1"/>
          <p:nvPr/>
        </p:nvSpPr>
        <p:spPr>
          <a:xfrm>
            <a:off x="3684932" y="2536448"/>
            <a:ext cx="568828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Kristy Wedel</a:t>
            </a:r>
          </a:p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Sr Manager, Data Scientist – Abbot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9C4D24-151A-42AE-9EA3-402F9A57EF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6349" y="2428115"/>
            <a:ext cx="1385844" cy="11092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A96663-B9AB-48DE-8111-AFD198B7EF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6190" y="4481239"/>
            <a:ext cx="869372" cy="857294"/>
          </a:xfrm>
          <a:prstGeom prst="rect">
            <a:avLst/>
          </a:prstGeom>
        </p:spPr>
      </p:pic>
      <p:pic>
        <p:nvPicPr>
          <p:cNvPr id="9" name="Picture 8">
            <a:hlinkClick r:id="rId6"/>
            <a:extLst>
              <a:ext uri="{FF2B5EF4-FFF2-40B4-BE49-F238E27FC236}">
                <a16:creationId xmlns:a16="http://schemas.microsoft.com/office/drawing/2014/main" id="{EDC6388F-71D4-4165-8AFD-38DB10C68A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0431" y="5564898"/>
            <a:ext cx="2099738" cy="7078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711CDB-FD85-8252-89BC-4B0769E29B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6869" y="4540284"/>
            <a:ext cx="2225233" cy="73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748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853641" y="1624503"/>
            <a:ext cx="9014800" cy="22887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lvl="0"/>
            <a:r>
              <a:rPr lang="en-US" dirty="0"/>
              <a:t>Loading and transforming data with Power Query</a:t>
            </a:r>
          </a:p>
          <a:p>
            <a:pPr lvl="0"/>
            <a:r>
              <a:rPr lang="en-US" dirty="0"/>
              <a:t>Joining data</a:t>
            </a:r>
          </a:p>
          <a:p>
            <a:pPr lvl="0"/>
            <a:r>
              <a:rPr lang="en-US" dirty="0"/>
              <a:t>Measures vs Calculated Columns</a:t>
            </a:r>
          </a:p>
          <a:p>
            <a:pPr lvl="0"/>
            <a:r>
              <a:rPr lang="en-US" dirty="0"/>
              <a:t>Creating measures in DAX</a:t>
            </a:r>
          </a:p>
          <a:p>
            <a:pPr lvl="0"/>
            <a:r>
              <a:rPr lang="en-US" dirty="0"/>
              <a:t>Designing a report</a:t>
            </a:r>
          </a:p>
          <a:p>
            <a:pPr lvl="0"/>
            <a:r>
              <a:rPr lang="en-US" dirty="0"/>
              <a:t>Customizing visuals</a:t>
            </a:r>
          </a:p>
          <a:p>
            <a:pPr lvl="0"/>
            <a:r>
              <a:rPr lang="en-US" dirty="0"/>
              <a:t>Publishing to a workspace</a:t>
            </a:r>
          </a:p>
          <a:p>
            <a:pPr lvl="0"/>
            <a:r>
              <a:rPr lang="en-US" dirty="0"/>
              <a:t>Bookmarks and exporting to PowerPoint</a:t>
            </a:r>
          </a:p>
          <a:p>
            <a:pPr lvl="0"/>
            <a:r>
              <a:rPr lang="en-US" dirty="0"/>
              <a:t>Dashboards and Alerts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3</a:t>
            </a:fld>
            <a:endParaRPr/>
          </a:p>
        </p:txBody>
      </p:sp>
      <p:sp>
        <p:nvSpPr>
          <p:cNvPr id="7" name="Google Shape;3871;p18">
            <a:extLst>
              <a:ext uri="{FF2B5EF4-FFF2-40B4-BE49-F238E27FC236}">
                <a16:creationId xmlns:a16="http://schemas.microsoft.com/office/drawing/2014/main" id="{19284000-FD36-42D3-AAD5-A7E90099D4DF}"/>
              </a:ext>
            </a:extLst>
          </p:cNvPr>
          <p:cNvSpPr txBox="1">
            <a:spLocks/>
          </p:cNvSpPr>
          <p:nvPr/>
        </p:nvSpPr>
        <p:spPr>
          <a:xfrm>
            <a:off x="1168540" y="5737540"/>
            <a:ext cx="9014800" cy="818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101597" indent="0" algn="r">
              <a:buNone/>
            </a:pPr>
            <a:r>
              <a:rPr lang="en-US" sz="3200" dirty="0"/>
              <a:t>Files: </a:t>
            </a:r>
            <a:r>
              <a:rPr lang="en-US" sz="3200" dirty="0">
                <a:hlinkClick r:id="rId6"/>
              </a:rPr>
              <a:t>https://github.com/kristywedel/LegoData</a:t>
            </a:r>
            <a:r>
              <a:rPr lang="en-US" sz="3200" dirty="0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B91BDC-E2D7-5333-5EEA-AC2342EBE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4</a:t>
            </a:fld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FD68CF-5CDF-4529-BCF4-AA98D17CF2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05921" y="1713052"/>
            <a:ext cx="7189143" cy="4024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files</a:t>
            </a:r>
          </a:p>
        </p:txBody>
      </p:sp>
      <p:sp>
        <p:nvSpPr>
          <p:cNvPr id="10" name="Google Shape;3871;p18">
            <a:extLst>
              <a:ext uri="{FF2B5EF4-FFF2-40B4-BE49-F238E27FC236}">
                <a16:creationId xmlns:a16="http://schemas.microsoft.com/office/drawing/2014/main" id="{06A411BE-7D83-64A0-ACFB-18312681BA8C}"/>
              </a:ext>
            </a:extLst>
          </p:cNvPr>
          <p:cNvSpPr txBox="1">
            <a:spLocks/>
          </p:cNvSpPr>
          <p:nvPr/>
        </p:nvSpPr>
        <p:spPr>
          <a:xfrm>
            <a:off x="1168540" y="5737540"/>
            <a:ext cx="9014800" cy="818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101597" indent="0" algn="r">
              <a:buNone/>
            </a:pPr>
            <a:r>
              <a:rPr lang="en-US" sz="3200" dirty="0"/>
              <a:t>Files: </a:t>
            </a:r>
            <a:r>
              <a:rPr lang="en-US" sz="3200" dirty="0">
                <a:hlinkClick r:id="rId7"/>
              </a:rPr>
              <a:t>https://github.com/kristywedel/LegoData</a:t>
            </a:r>
            <a:r>
              <a:rPr lang="en-US" sz="3200" dirty="0"/>
              <a:t>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5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Data</a:t>
            </a:r>
          </a:p>
        </p:txBody>
      </p:sp>
      <p:pic>
        <p:nvPicPr>
          <p:cNvPr id="6" name="Picture 5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11D414-4C91-9CA7-6B4F-39EA1E965B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8584" y="1774584"/>
            <a:ext cx="5177310" cy="443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383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6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Repor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C82766-E4CD-216F-3ADD-3D484356C4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0235" y="2247757"/>
            <a:ext cx="8885690" cy="3299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6906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B61EAB5F-88FC-4FAE-AE3C-037A3C365E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F44C90D-2A62-4985-9618-3460247437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8A2F88-55C5-4ED1-9541-807C65424763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 design</Template>
  <TotalTime>1546</TotalTime>
  <Words>80</Words>
  <Application>Microsoft Office PowerPoint</Application>
  <PresentationFormat>Widescreen</PresentationFormat>
  <Paragraphs>25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Titillium Web Light</vt:lpstr>
      <vt:lpstr>Tw Cen MT</vt:lpstr>
      <vt:lpstr>Tw Cen MT Condensed</vt:lpstr>
      <vt:lpstr>Wingdings 3</vt:lpstr>
      <vt:lpstr>Integral</vt:lpstr>
      <vt:lpstr>think-cell Slide</vt:lpstr>
      <vt:lpstr>Power BI Workshop</vt:lpstr>
      <vt:lpstr>About Me</vt:lpstr>
      <vt:lpstr>agenda</vt:lpstr>
      <vt:lpstr>files</vt:lpstr>
      <vt:lpstr>Data</vt:lpstr>
      <vt:lpstr>Repo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orem Ipsum</dc:title>
  <dc:creator>Kristy Wedel</dc:creator>
  <cp:lastModifiedBy>Kristy Wedel</cp:lastModifiedBy>
  <cp:revision>11</cp:revision>
  <dcterms:created xsi:type="dcterms:W3CDTF">2022-07-06T14:12:40Z</dcterms:created>
  <dcterms:modified xsi:type="dcterms:W3CDTF">2022-07-13T15:5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